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7728" r:id="rId2"/>
    <p:sldId id="9817" r:id="rId3"/>
    <p:sldId id="9826" r:id="rId4"/>
    <p:sldId id="9820" r:id="rId5"/>
    <p:sldId id="9828" r:id="rId6"/>
    <p:sldId id="9816" r:id="rId7"/>
    <p:sldId id="9821" r:id="rId8"/>
    <p:sldId id="9825" r:id="rId9"/>
    <p:sldId id="9823" r:id="rId10"/>
    <p:sldId id="9827" r:id="rId11"/>
    <p:sldId id="9829" r:id="rId12"/>
    <p:sldId id="9822" r:id="rId13"/>
  </p:sldIdLst>
  <p:sldSz cx="10693400" cy="7561263"/>
  <p:notesSz cx="7104063" cy="10234613"/>
  <p:embeddedFontLst>
    <p:embeddedFont>
      <p:font typeface="Avenir Next LT Pro" panose="020B0504020202020204" pitchFamily="34" charset="0"/>
      <p:regular r:id="rId16"/>
      <p:bold r:id="rId17"/>
      <p:italic r:id="rId18"/>
      <p:boldItalic r:id="rId19"/>
    </p:embeddedFont>
    <p:embeddedFont>
      <p:font typeface="Roboto" panose="02000000000000000000" pitchFamily="2" charset="0"/>
      <p:regular r:id="rId20"/>
      <p:bold r:id="rId21"/>
      <p:italic r:id="rId22"/>
      <p:boldItalic r:id="rId23"/>
    </p:embeddedFont>
    <p:embeddedFont>
      <p:font typeface="Roboto Mono" panose="00000009000000000000" pitchFamily="49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15" dt="2024-11-20T15:18:59.4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455" autoAdjust="0"/>
    <p:restoredTop sz="96280" autoAdjust="0"/>
  </p:normalViewPr>
  <p:slideViewPr>
    <p:cSldViewPr showGuides="1">
      <p:cViewPr varScale="1">
        <p:scale>
          <a:sx n="84" d="100"/>
          <a:sy n="84" d="100"/>
        </p:scale>
        <p:origin x="444" y="90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1.xml"/><Relationship Id="rId3" Type="http://schemas.openxmlformats.org/officeDocument/2006/relationships/slide" Target="slides/slide6.xml"/><Relationship Id="rId7" Type="http://schemas.openxmlformats.org/officeDocument/2006/relationships/slide" Target="slides/slide10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9.xml"/><Relationship Id="rId5" Type="http://schemas.openxmlformats.org/officeDocument/2006/relationships/slide" Target="slides/slide8.xml"/><Relationship Id="rId4" Type="http://schemas.openxmlformats.org/officeDocument/2006/relationships/slide" Target="slides/slide7.xml"/><Relationship Id="rId9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modSld sldOrd">
      <pc:chgData name="Pierre Høgenhaug" userId="5f239db8-0158-4fa1-a859-fc1b00175be2" providerId="ADAL" clId="{328BAFA5-4643-4A51-9C03-BEEE08B06F38}" dt="2024-11-20T15:23:36.598" v="892" actId="5793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0T09:30:52.100" v="284" actId="6549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0T09:30:52.100" v="284" actId="6549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10:28:46.534" v="670" actId="20577"/>
        <pc:sldMkLst>
          <pc:docMk/>
          <pc:sldMk cId="1561223794" sldId="9820"/>
        </pc:sldMkLst>
        <pc:spChg chg="mod">
          <ac:chgData name="Pierre Høgenhaug" userId="5f239db8-0158-4fa1-a859-fc1b00175be2" providerId="ADAL" clId="{328BAFA5-4643-4A51-9C03-BEEE08B06F38}" dt="2024-11-20T10:28:46.534" v="670" actId="20577"/>
          <ac:spMkLst>
            <pc:docMk/>
            <pc:sldMk cId="1561223794" sldId="9820"/>
            <ac:spMk id="6" creationId="{79F7CBB1-0E9C-65D5-D2A7-986579C52A90}"/>
          </ac:spMkLst>
        </pc:spChg>
        <pc:picChg chg="mod">
          <ac:chgData name="Pierre Høgenhaug" userId="5f239db8-0158-4fa1-a859-fc1b00175be2" providerId="ADAL" clId="{328BAFA5-4643-4A51-9C03-BEEE08B06F38}" dt="2024-11-20T10:27:09.421" v="554" actId="1076"/>
          <ac:picMkLst>
            <pc:docMk/>
            <pc:sldMk cId="1561223794" sldId="9820"/>
            <ac:picMk id="9" creationId="{9805B0EA-EC17-C98E-370A-4DFA0C5F41E1}"/>
          </ac:picMkLst>
        </pc:picChg>
      </pc:sldChg>
      <pc:sldChg chg="modSp mod">
        <pc:chgData name="Pierre Høgenhaug" userId="5f239db8-0158-4fa1-a859-fc1b00175be2" providerId="ADAL" clId="{328BAFA5-4643-4A51-9C03-BEEE08B06F38}" dt="2024-11-20T15:23:36.598" v="892" actId="5793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15:23:36.598" v="892" actId="5793"/>
          <ac:spMkLst>
            <pc:docMk/>
            <pc:sldMk cId="2830548496" sldId="9821"/>
            <ac:spMk id="19" creationId="{8F2EC1D3-E8FB-69E9-EF89-D841C355B54F}"/>
          </ac:spMkLst>
        </pc:spChg>
      </pc:sldChg>
      <pc:sldChg chg="modSp mod">
        <pc:chgData name="Pierre Høgenhaug" userId="5f239db8-0158-4fa1-a859-fc1b00175be2" providerId="ADAL" clId="{328BAFA5-4643-4A51-9C03-BEEE08B06F38}" dt="2024-11-20T15:21:29.229" v="886" actId="20577"/>
        <pc:sldMkLst>
          <pc:docMk/>
          <pc:sldMk cId="2573527940" sldId="9822"/>
        </pc:sldMkLst>
        <pc:spChg chg="mod">
          <ac:chgData name="Pierre Høgenhaug" userId="5f239db8-0158-4fa1-a859-fc1b00175be2" providerId="ADAL" clId="{328BAFA5-4643-4A51-9C03-BEEE08B06F38}" dt="2024-11-20T15:20:06.324" v="760" actId="20577"/>
          <ac:spMkLst>
            <pc:docMk/>
            <pc:sldMk cId="2573527940" sldId="9822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0T15:21:29.229" v="886" actId="20577"/>
          <ac:spMkLst>
            <pc:docMk/>
            <pc:sldMk cId="2573527940" sldId="9822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15:23:23.568" v="887" actId="21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  <pc:spChg chg="mod">
          <ac:chgData name="Pierre Høgenhaug" userId="5f239db8-0158-4fa1-a859-fc1b00175be2" providerId="ADAL" clId="{328BAFA5-4643-4A51-9C03-BEEE08B06F38}" dt="2024-11-20T15:23:23.568" v="887" actId="21"/>
          <ac:spMkLst>
            <pc:docMk/>
            <pc:sldMk cId="229663654" sldId="9825"/>
            <ac:spMk id="19" creationId="{366E3853-A258-E70B-6ECF-ECADF70A9708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0T09:33:26.028" v="520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0T09:33:26.028" v="520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  <pc:sldChg chg="addSp delSp modSp new mod">
        <pc:chgData name="Pierre Høgenhaug" userId="5f239db8-0158-4fa1-a859-fc1b00175be2" providerId="ADAL" clId="{328BAFA5-4643-4A51-9C03-BEEE08B06F38}" dt="2024-11-20T10:32:35.949" v="673"/>
        <pc:sldMkLst>
          <pc:docMk/>
          <pc:sldMk cId="1753498188" sldId="9828"/>
        </pc:sldMkLst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2" creationId="{A1684C62-DD42-96B4-D44E-0E6EF4FB9FAD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3" creationId="{798DA084-BD8B-AD5E-E2DF-F40DD818E5D7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4" creationId="{2C3BE81D-DAD1-55CA-07AD-01245A68A51E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5" creationId="{CAE12DA1-CF22-1BA1-7833-9CD7C7B92016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6" creationId="{EF0445AC-8E08-88FC-BD49-35AF48F3A97E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7" creationId="{E2972773-C5D8-CB6B-7C42-7D7F7C9F55B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8" creationId="{E06BDC6C-27BD-C205-9004-FDB3A5A82BC0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9" creationId="{E170421C-E967-B81E-F078-B2E512700B6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0" creationId="{CE368DDD-597F-4076-5E7B-A63453421582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1" creationId="{43BE52E8-C01C-1496-A4F1-D48A04FFFEA9}"/>
          </ac:spMkLst>
        </pc:spChg>
        <pc:picChg chg="add mod">
          <ac:chgData name="Pierre Høgenhaug" userId="5f239db8-0158-4fa1-a859-fc1b00175be2" providerId="ADAL" clId="{328BAFA5-4643-4A51-9C03-BEEE08B06F38}" dt="2024-11-20T10:32:35.949" v="673"/>
          <ac:picMkLst>
            <pc:docMk/>
            <pc:sldMk cId="1753498188" sldId="9828"/>
            <ac:picMk id="12" creationId="{976E078B-594E-3CD0-4A49-82FC52EBF381}"/>
          </ac:picMkLst>
        </pc:picChg>
      </pc:sldChg>
      <pc:sldChg chg="add ord">
        <pc:chgData name="Pierre Høgenhaug" userId="5f239db8-0158-4fa1-a859-fc1b00175be2" providerId="ADAL" clId="{328BAFA5-4643-4A51-9C03-BEEE08B06F38}" dt="2024-11-20T15:19:00.799" v="676"/>
        <pc:sldMkLst>
          <pc:docMk/>
          <pc:sldMk cId="1610390231" sldId="98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FBCB1D-C2E5-79A6-AE97-E30D5164435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25CCB9-332B-424D-A22A-6B25956D5CA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139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" Target="slide4.xml"/><Relationship Id="rId7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8.xml"/><Relationship Id="rId5" Type="http://schemas.openxmlformats.org/officeDocument/2006/relationships/slide" Target="slide7.xml"/><Relationship Id="rId4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r5iv.labs.arxiv.org/html/2310.14122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6468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/>
              <a:t>Locally, I’ve run these models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/>
              <a:t>I </a:t>
            </a:r>
            <a:r>
              <a:rPr lang="en-GB" sz="1000" dirty="0"/>
              <a:t>want to test the following models: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Locally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run part of this locally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code runs using Bash Script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unning on Cloud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to Prioritize Now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443198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Extraction / Scrap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For all portfolio names that have C4 analyst score, extract PDF prospectuses from SharePoint (</a:t>
            </a:r>
            <a:r>
              <a:rPr lang="en-GB" sz="1000" dirty="0" err="1"/>
              <a:t>Findox</a:t>
            </a:r>
            <a:r>
              <a:rPr lang="en-GB" sz="1000" dirty="0"/>
              <a:t>)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nefits of current approach: Easy to link to all other C4 data using unique Id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ortfalls of current approach: Only 145 companies (out of 600+) had pdf prospectuses on SharePoint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ternative approach to get more data: In the beginning of the project, I wrote code to web scrape Prospectuses based on ISIN (International Securities Identification Number) straight from the regulatory website. Would be possible to link to C4 universe but takes some time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1610390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My Goal With This MSc Thesis</a:t>
            </a:r>
            <a:endParaRPr lang="en-US" sz="24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09288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of of Concep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ive PMs and my analyst colleagues an idea of what this technology is capable of. 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Base Experiment Results 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rId8" action="ppaction://hlinksldjump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DA26E-71C1-B7AF-0FCD-E68CF638B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B677AB-C73A-EC3B-2F8F-41E4A64F3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EB18C8-A61D-EE00-1CCA-28E6655194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B5BA27-D622-5311-DC78-761578DC0D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3205"/>
          <a:stretch/>
        </p:blipFill>
        <p:spPr>
          <a:xfrm>
            <a:off x="1461316" y="3394393"/>
            <a:ext cx="6818967" cy="1343453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05C9A5C7-7CD0-BCBD-F7AB-E4C3E53764F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BE14F1-0F1A-B664-ED79-64E596815B1B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E7395F-467E-AC9E-A4E5-17EE7C89696F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DDA794-89F7-7722-6F3B-482B026EAA5C}"/>
              </a:ext>
            </a:extLst>
          </p:cNvPr>
          <p:cNvSpPr txBox="1"/>
          <p:nvPr/>
        </p:nvSpPr>
        <p:spPr>
          <a:xfrm>
            <a:off x="396000" y="4906213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96622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17E49B-24EF-BDDB-36C4-82AD338012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8686A-1CA6-EA47-8CF1-B56BC9B034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797965-FC4D-8CB3-1AD3-9A5B5EF98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E6F5E-5D2E-04D6-0275-BD1CF02682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F7CBB1-0E9C-65D5-D2A7-986579C52A9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names with C4 Fundamental Score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their data provider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so that we have issuer unique id that we can link to all relevant data in DB (e.g. analyst score).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I now have a Dataset with ~150 names with C4 Analyst Scores.</a:t>
            </a:r>
          </a:p>
          <a:p>
            <a:pPr marL="285750" indent="-285750">
              <a:buFontTx/>
              <a:buChar char="-"/>
            </a:pPr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. </a:t>
            </a:r>
          </a:p>
          <a:p>
            <a:endParaRPr lang="en-DK" sz="1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2BE61D-E160-1767-1518-68D41AD211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9" name="Picture 8" descr="A screenshot of a calendar&#10;&#10;Description automatically generated">
            <a:extLst>
              <a:ext uri="{FF2B5EF4-FFF2-40B4-BE49-F238E27FC236}">
                <a16:creationId xmlns:a16="http://schemas.microsoft.com/office/drawing/2014/main" id="{9805B0EA-EC17-C98E-370A-4DFA0C5F41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60" y="4322518"/>
            <a:ext cx="6148759" cy="188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237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2972773-C5D8-CB6B-7C42-7D7F7C9F55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000" y="1342250"/>
            <a:ext cx="9900000" cy="360000"/>
          </a:xfrm>
        </p:spPr>
        <p:txBody>
          <a:bodyPr/>
          <a:lstStyle/>
          <a:p>
            <a:endParaRPr lang="en-DK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06BDC6C-27BD-C205-9004-FDB3A5A82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000" y="6552701"/>
            <a:ext cx="9900000" cy="360000"/>
          </a:xfrm>
        </p:spPr>
        <p:txBody>
          <a:bodyPr/>
          <a:lstStyle/>
          <a:p>
            <a:endParaRPr lang="en-DK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E170421C-E967-B81E-F078-B2E512700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E368DDD-597F-4076-5E7B-A634534215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57440" y="360358"/>
            <a:ext cx="2336362" cy="190270"/>
          </a:xfrm>
        </p:spPr>
        <p:txBody>
          <a:bodyPr/>
          <a:lstStyle/>
          <a:p>
            <a:endParaRPr lang="en-DK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43BE52E8-C01C-1496-A4F1-D48A04FFFEA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>
            <a:normAutofit/>
          </a:bodyPr>
          <a:lstStyle/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names with C4 Fundamental Score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their data provider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so that we have issuer unique id that we can link to all relevant data in DB (e.g. analyst score).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I now have a Dataset with ~150 names with C4 Analyst Scores.</a:t>
            </a:r>
          </a:p>
          <a:p>
            <a:pPr marL="285750" indent="-285750">
              <a:buFontTx/>
              <a:buChar char="-"/>
            </a:pPr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. </a:t>
            </a:r>
          </a:p>
          <a:p>
            <a:endParaRPr lang="en-DK" sz="1000" dirty="0"/>
          </a:p>
        </p:txBody>
      </p:sp>
      <p:pic>
        <p:nvPicPr>
          <p:cNvPr id="12" name="Picture 11" descr="A screenshot of a calendar&#10;&#10;Description automatically generated">
            <a:extLst>
              <a:ext uri="{FF2B5EF4-FFF2-40B4-BE49-F238E27FC236}">
                <a16:creationId xmlns:a16="http://schemas.microsoft.com/office/drawing/2014/main" id="{976E078B-594E-3CD0-4A49-82FC52EBF3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60" y="4322518"/>
            <a:ext cx="6148759" cy="188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498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4409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</a:t>
            </a:r>
            <a:r>
              <a:rPr lang="en-US" sz="10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900" dirty="0"/>
              <a:t>I turned into:</a:t>
            </a:r>
            <a:endParaRPr lang="en-GB" sz="9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9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9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For the LLM modelling, 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8130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on researching I chose a Prompting Strategy Based on Specific Research Paper (</a:t>
            </a: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5iv.labs.arxiv.org/html/2310.14122</a:t>
            </a:r>
            <a:r>
              <a:rPr lang="en-GB" sz="1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ing field of research on LLMs: Relevance Generation (LLM is prompted to answer whether a document is relevant to a query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paper found that instead of using LLM for binary relevance generation (“Yes” / “No” output), fine-grained relevance labels improved performance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fter seeing LLM performance when performing binary decisions on relevance, I used three level relevance generation:</a:t>
            </a: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6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6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’</a:t>
            </a:r>
            <a:r>
              <a:rPr lang="en-GB" sz="6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6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6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specific sub risks from the Risk Factors section. The {questions} is a specific sub-score label. 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3799046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64" y="3799046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339</TotalTime>
  <Words>1557</Words>
  <Application>Microsoft Office PowerPoint</Application>
  <PresentationFormat>Custom</PresentationFormat>
  <Paragraphs>166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Menlo</vt:lpstr>
      <vt:lpstr>Wingdings</vt:lpstr>
      <vt:lpstr>Arial</vt:lpstr>
      <vt:lpstr>Roboto Mono</vt:lpstr>
      <vt:lpstr>Roboto</vt:lpstr>
      <vt:lpstr>Avenir Next LT Pro</vt:lpstr>
      <vt:lpstr>Calibri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The Practical</vt:lpstr>
      <vt:lpstr>What to Prioritize Now</vt:lpstr>
      <vt:lpstr>My Goal With This MSc Thesi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32</cp:revision>
  <cp:lastPrinted>2020-08-17T11:08:44Z</cp:lastPrinted>
  <dcterms:created xsi:type="dcterms:W3CDTF">2012-12-10T20:52:52Z</dcterms:created>
  <dcterms:modified xsi:type="dcterms:W3CDTF">2024-11-20T15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